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2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60" r:id="rId3"/>
    <p:sldId id="261" r:id="rId4"/>
    <p:sldId id="272" r:id="rId5"/>
    <p:sldId id="273" r:id="rId6"/>
    <p:sldId id="274" r:id="rId7"/>
    <p:sldId id="264" r:id="rId8"/>
    <p:sldId id="268" r:id="rId9"/>
    <p:sldId id="270" r:id="rId10"/>
    <p:sldId id="271" r:id="rId1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019"/>
    <p:restoredTop sz="94694"/>
  </p:normalViewPr>
  <p:slideViewPr>
    <p:cSldViewPr snapToGrid="0" snapToObjects="1">
      <p:cViewPr varScale="1">
        <p:scale>
          <a:sx n="121" d="100"/>
          <a:sy n="121" d="100"/>
        </p:scale>
        <p:origin x="2512" y="17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F872-3749-AE0D-C5135D4C46A8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F872-3749-AE0D-C5135D4C46A8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F872-3749-AE0D-C5135D4C46A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0.400000000000006</c:v>
                </c:pt>
                <c:pt idx="1">
                  <c:v>10.9</c:v>
                </c:pt>
                <c:pt idx="2">
                  <c:v>18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72-3749-AE0D-C5135D4C46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5874015056191604"/>
          <c:y val="0.44196737799226371"/>
          <c:w val="0.32287332504489602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54229108458195E-2"/>
          <c:y val="4.1798941798941801E-2"/>
          <c:w val="0.76530728013836979"/>
          <c:h val="0.805199558388534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chigan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invertIfNegative val="0"/>
          <c:dLbls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950905330382083E-2"/>
                      <c:h val="6.55026455026454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5CE-6A47-816C-A2775F2CAB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Fib/VTach/
Unknown Shockable</c:v>
                </c:pt>
                <c:pt idx="1">
                  <c:v>Asystole</c:v>
                </c:pt>
                <c:pt idx="2">
                  <c:v>Idioventricular/
PEA</c:v>
                </c:pt>
                <c:pt idx="3">
                  <c:v>Unknown 
Unshockabl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17299999999999999</c:v>
                </c:pt>
                <c:pt idx="1">
                  <c:v>0.48699999999999999</c:v>
                </c:pt>
                <c:pt idx="2">
                  <c:v>0.17399999999999999</c:v>
                </c:pt>
                <c:pt idx="3">
                  <c:v>0.165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CE-6A47-816C-A2775F2CAB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2.645502645502645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44-C349-A5EC-1C47DA3A06B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Fib/VTach/
Unknown Shockable</c:v>
                </c:pt>
                <c:pt idx="1">
                  <c:v>Asystole</c:v>
                </c:pt>
                <c:pt idx="2">
                  <c:v>Idioventricular/
PEA</c:v>
                </c:pt>
                <c:pt idx="3">
                  <c:v>Unknown 
Unshockable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189</c:v>
                </c:pt>
                <c:pt idx="1">
                  <c:v>0.498</c:v>
                </c:pt>
                <c:pt idx="2">
                  <c:v>0.222</c:v>
                </c:pt>
                <c:pt idx="3">
                  <c:v>9.0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5CE-6A47-816C-A2775F2CA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08277368"/>
        <c:axId val="1907872312"/>
      </c:barChart>
      <c:catAx>
        <c:axId val="1908277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7872312"/>
        <c:crosses val="autoZero"/>
        <c:auto val="1"/>
        <c:lblAlgn val="ctr"/>
        <c:lblOffset val="100"/>
        <c:noMultiLvlLbl val="0"/>
      </c:catAx>
      <c:valAx>
        <c:axId val="190787231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0827736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4382833724731801"/>
          <c:y val="0.122609295421813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stained ROSC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7FB9-C446-AD03-2C9339A74A57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7FB9-C446-AD03-2C9339A74A5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7FB9-C446-AD03-2C9339A74A5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0.7</c:v>
                </c:pt>
                <c:pt idx="1">
                  <c:v>69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FB9-C446-AD03-2C9339A74A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81250065441705321"/>
          <c:y val="0.40648946912469863"/>
          <c:w val="0.14849910959008925"/>
          <c:h val="0.18754106682705299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3615656233312365"/>
          <c:y val="0.122609295421814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stained ROSC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A1B8-6B42-9299-54D9FD1B8A0E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A1B8-6B42-9299-54D9FD1B8A0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A1B8-6B42-9299-54D9FD1B8A0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9.7</c:v>
                </c:pt>
                <c:pt idx="1">
                  <c:v>7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B8-6B42-9299-54D9FD1B8A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49175880111765E-2"/>
          <c:y val="3.2685958297292005E-2"/>
          <c:w val="0.79012719017705402"/>
          <c:h val="0.836380269627659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chigan</c:v>
                </c:pt>
              </c:strCache>
            </c:strRef>
          </c:tx>
          <c:spPr>
            <a:ln>
              <a:solidFill>
                <a:srgbClr val="0000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/Moderate 
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26</c:v>
                </c:pt>
                <c:pt idx="1">
                  <c:v>8.6999999999999994E-2</c:v>
                </c:pt>
                <c:pt idx="2">
                  <c:v>7.0999999999999994E-2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17-A241-9757-0A7D5DDBF8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2.8811783469870635E-3"/>
                  <c:y val="-2.51082978564493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9410491586998042E-2"/>
                      <c:h val="6.18268185151056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8217-A241-9757-0A7D5DDBF8A4}"/>
                </c:ext>
              </c:extLst>
            </c:dLbl>
            <c:dLbl>
              <c:idx val="2"/>
              <c:layout>
                <c:manualLayout>
                  <c:x val="-1.440560815997167E-3"/>
                  <c:y val="-1.673893846133579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9DB-8A45-9D54-F4B0616061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/Moderate 
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27900000000000003</c:v>
                </c:pt>
                <c:pt idx="1">
                  <c:v>0.105</c:v>
                </c:pt>
                <c:pt idx="2">
                  <c:v>8.5000000000000006E-2</c:v>
                </c:pt>
                <c:pt idx="3">
                  <c:v>1.72352311898252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217-A241-9757-0A7D5DDBF8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845113864"/>
        <c:axId val="1845083768"/>
      </c:barChart>
      <c:catAx>
        <c:axId val="1845113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845083768"/>
        <c:crosses val="autoZero"/>
        <c:auto val="1"/>
        <c:lblAlgn val="ctr"/>
        <c:lblOffset val="100"/>
        <c:noMultiLvlLbl val="0"/>
      </c:catAx>
      <c:valAx>
        <c:axId val="1845083768"/>
        <c:scaling>
          <c:orientation val="minMax"/>
          <c:max val="0.4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8451138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4961894897817181"/>
          <c:y val="0.41383906015912975"/>
          <c:w val="0.14605936857383686"/>
          <c:h val="0.1500032950666262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chigan</c:v>
                </c:pt>
              </c:strCache>
            </c:strRef>
          </c:tx>
          <c:spPr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8.570460658886230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62-714F-B5B9-085FCBE92C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30299999999999999</c:v>
                </c:pt>
                <c:pt idx="1">
                  <c:v>0.341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90-A84C-8301-08C9AED6BB2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-3.003003003003003E-3"/>
                  <c:y val="-1.714092131777243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70-A44A-A2E4-2F3A5A448514}"/>
                </c:ext>
              </c:extLst>
            </c:dLbl>
            <c:dLbl>
              <c:idx val="1"/>
              <c:layout>
                <c:manualLayout>
                  <c:x val="-1.5015015015015015E-3"/>
                  <c:y val="8.570460658886218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62-714F-B5B9-085FCBE92C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33200000000000002</c:v>
                </c:pt>
                <c:pt idx="1">
                  <c:v>0.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90-A84C-8301-08C9AED6B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803831064"/>
        <c:axId val="1905816536"/>
      </c:barChart>
      <c:catAx>
        <c:axId val="1803831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5816536"/>
        <c:crosses val="autoZero"/>
        <c:auto val="1"/>
        <c:lblAlgn val="ctr"/>
        <c:lblOffset val="100"/>
        <c:noMultiLvlLbl val="0"/>
      </c:catAx>
      <c:valAx>
        <c:axId val="1905816536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803831064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2703235964523877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A767-EC43-8893-33B462779E94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A767-EC43-8893-33B462779E94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A767-EC43-8893-33B462779E94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70.599999999999994</c:v>
                </c:pt>
                <c:pt idx="1">
                  <c:v>14.3</c:v>
                </c:pt>
                <c:pt idx="2">
                  <c:v>1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767-EC43-8893-33B462779E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 Status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911 Responder Witnessed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 formatCode="0.0">
                  <c:v>38</c:v>
                </c:pt>
                <c:pt idx="1">
                  <c:v>12.5</c:v>
                </c:pt>
                <c:pt idx="2">
                  <c:v>4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4482160087947677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 Status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911 Responder Witnessed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38.200000000000003</c:v>
                </c:pt>
                <c:pt idx="1">
                  <c:v>10.5</c:v>
                </c:pt>
                <c:pt idx="2">
                  <c:v>5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ho Initiated CPR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41.6</c:v>
                </c:pt>
                <c:pt idx="1">
                  <c:v>27.9</c:v>
                </c:pt>
                <c:pt idx="2">
                  <c:v>3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3815306375524056"/>
          <c:y val="0.1272595467528126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ho Initiated CPR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Lay Person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3.4</c:v>
                </c:pt>
                <c:pt idx="1">
                  <c:v>26.9</c:v>
                </c:pt>
                <c:pt idx="2">
                  <c:v>29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s an AED Applied (prior to EMS Arrival)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No</c:v>
                </c:pt>
                <c:pt idx="1">
                  <c:v>Yes, by a bystander</c:v>
                </c:pt>
                <c:pt idx="2">
                  <c:v>Yes, by a First Responder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71195425989417149</c:v>
                </c:pt>
                <c:pt idx="1">
                  <c:v>6.4923997701103867E-2</c:v>
                </c:pt>
                <c:pt idx="2">
                  <c:v>0.22312174240472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3815306375524056"/>
          <c:y val="0.1356776447354960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s an AED Applied (prior to EMS Arrival)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No</c:v>
                </c:pt>
                <c:pt idx="1">
                  <c:v>Yes, by a bystander</c:v>
                </c:pt>
                <c:pt idx="2">
                  <c:v>Yes, by a First Responder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62736215376650273</c:v>
                </c:pt>
                <c:pt idx="1">
                  <c:v>9.8239710069893862E-2</c:v>
                </c:pt>
                <c:pt idx="2">
                  <c:v>0.274398136163603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54229108458195E-2"/>
          <c:y val="4.1798941798941801E-2"/>
          <c:w val="0.74533800210457601"/>
          <c:h val="0.846153928839928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chigan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invertIfNegative val="0"/>
          <c:dLbls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950905330382083E-2"/>
                      <c:h val="6.55026455026454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5CE-6A47-816C-A2775F2CAB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Bystander CPR</c:v>
                </c:pt>
                <c:pt idx="1">
                  <c:v>Public AED Use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40200000000000002</c:v>
                </c:pt>
                <c:pt idx="1">
                  <c:v>0.139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CE-6A47-816C-A2775F2CAB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invertIfNegative val="0"/>
          <c:dLbls>
            <c:dLbl>
              <c:idx val="1"/>
              <c:layout>
                <c:manualLayout>
                  <c:x val="0"/>
                  <c:y val="5.555556770681708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F05-7443-BC7E-0D728FDF71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Bystander CPR</c:v>
                </c:pt>
                <c:pt idx="1">
                  <c:v>Public AED Use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41199999999999998</c:v>
                </c:pt>
                <c:pt idx="1">
                  <c:v>0.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5CE-6A47-816C-A2775F2CA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axId val="1908277368"/>
        <c:axId val="1907872312"/>
      </c:barChart>
      <c:catAx>
        <c:axId val="1908277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7872312"/>
        <c:crosses val="autoZero"/>
        <c:auto val="1"/>
        <c:lblAlgn val="ctr"/>
        <c:lblOffset val="100"/>
        <c:noMultiLvlLbl val="0"/>
      </c:catAx>
      <c:valAx>
        <c:axId val="190787231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0827736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AB44AE-05A4-47C5-9742-293DD23B97B6}" type="datetimeFigureOut">
              <a:rPr lang="en-US" smtClean="0"/>
              <a:t>4/16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0E53EB-1A86-4C4E-BBAC-8CFA3C8059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21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457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99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200" y="37338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31015" y="4279478"/>
            <a:ext cx="4330016" cy="1373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150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014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819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53193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53193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8371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Cambria"/>
                <a:cs typeface="Cambr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371600"/>
            <a:ext cx="4038600" cy="4530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371600"/>
            <a:ext cx="4038600" cy="21891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713163"/>
            <a:ext cx="4038600" cy="21891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Line 2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 dirty="0">
              <a:ea typeface="+mn-ea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82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469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477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735BC-9D73-6044-AB28-C9EE5BA20DC0}" type="datetimeFigureOut">
              <a:rPr lang="en-US" smtClean="0"/>
              <a:t>4/16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6AD9FD-757C-FE4F-BB7B-1478392C0EB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026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6" r:id="rId5"/>
    <p:sldLayoutId id="2147483654" r:id="rId6"/>
    <p:sldLayoutId id="2147483655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2"/>
          </a:solidFill>
          <a:latin typeface="Cambria"/>
          <a:ea typeface="+mj-ea"/>
          <a:cs typeface="Cambri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Cambria"/>
          <a:ea typeface="+mn-ea"/>
          <a:cs typeface="Cambri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Cambria"/>
          <a:ea typeface="+mn-ea"/>
          <a:cs typeface="Cambri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Cambria"/>
          <a:ea typeface="+mn-ea"/>
          <a:cs typeface="Cambri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Cambria"/>
          <a:ea typeface="+mn-ea"/>
          <a:cs typeface="Cambr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Cambria"/>
          <a:ea typeface="+mn-ea"/>
          <a:cs typeface="Cambr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RES 2019 National Report Summary: Michigan</a:t>
            </a:r>
          </a:p>
        </p:txBody>
      </p:sp>
    </p:spTree>
    <p:extLst>
      <p:ext uri="{BB962C8B-B14F-4D97-AF65-F5344CB8AC3E}">
        <p14:creationId xmlns:p14="http://schemas.microsoft.com/office/powerpoint/2010/main" val="20286649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90600"/>
          </a:xfrm>
        </p:spPr>
        <p:txBody>
          <a:bodyPr>
            <a:noAutofit/>
          </a:bodyPr>
          <a:lstStyle/>
          <a:p>
            <a:r>
              <a:rPr lang="en-US" sz="3600" dirty="0"/>
              <a:t>Survival Rates: Bystander Witnessed Shockable Rhythm</a:t>
            </a:r>
          </a:p>
        </p:txBody>
      </p:sp>
      <p:graphicFrame>
        <p:nvGraphicFramePr>
          <p:cNvPr id="4" name="Content Placeholder 6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2094056628"/>
              </p:ext>
            </p:extLst>
          </p:nvPr>
        </p:nvGraphicFramePr>
        <p:xfrm>
          <a:off x="347868" y="1468281"/>
          <a:ext cx="8458200" cy="4445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743200" y="6257836"/>
            <a:ext cx="64008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  <a:defRPr/>
            </a:pPr>
            <a:r>
              <a:rPr lang="en-US" sz="1100" i="1" dirty="0">
                <a:solidFill>
                  <a:srgbClr val="000000"/>
                </a:solidFill>
                <a:latin typeface="Cambria"/>
                <a:cs typeface="Cambria"/>
              </a:rPr>
              <a:t>Utstein = Witnessed by bystander and found in a shockable rhythm</a:t>
            </a:r>
          </a:p>
          <a:p>
            <a:pPr marL="171450" indent="-171450">
              <a:buFont typeface="Arial"/>
              <a:buChar char="•"/>
              <a:defRPr/>
            </a:pPr>
            <a:r>
              <a:rPr lang="en-US" sz="1100" i="1" dirty="0">
                <a:solidFill>
                  <a:srgbClr val="000000"/>
                </a:solidFill>
                <a:latin typeface="Cambria"/>
                <a:cs typeface="Cambria"/>
              </a:rPr>
              <a:t>Utstein Bystander = Witnessed by bystander, found in shockable rhythm, and received some bystander intervention (CPR and/or AED application</a:t>
            </a:r>
            <a:r>
              <a:rPr lang="en-US" sz="1100" dirty="0">
                <a:solidFill>
                  <a:srgbClr val="000000"/>
                </a:solidFill>
                <a:latin typeface="Cambria"/>
                <a:cs typeface="Cambria"/>
              </a:rPr>
              <a:t>)</a:t>
            </a:r>
            <a:endParaRPr lang="en-US" sz="1100" i="1" dirty="0">
              <a:solidFill>
                <a:srgbClr val="000000"/>
              </a:solidFill>
              <a:latin typeface="Cambria"/>
              <a:cs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2984727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of Arrest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020057328"/>
              </p:ext>
            </p:extLst>
          </p:nvPr>
        </p:nvGraphicFramePr>
        <p:xfrm>
          <a:off x="-113875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A568D3DC-4C98-674C-BF38-9C10CF4CAC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540637"/>
              </p:ext>
            </p:extLst>
          </p:nvPr>
        </p:nvGraphicFramePr>
        <p:xfrm>
          <a:off x="5335199" y="1417638"/>
          <a:ext cx="470434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52347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est Witnessed Status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4187470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3615187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0924188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Initiated CPR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047321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9252236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979554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85797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Was an AED Applied </a:t>
            </a:r>
            <a:br>
              <a:rPr lang="en-US" dirty="0"/>
            </a:br>
            <a:r>
              <a:rPr lang="en-US" dirty="0"/>
              <a:t>(prior to EMS arrival)?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7586931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62924052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075042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ystander Intervention Rates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375224933"/>
              </p:ext>
            </p:extLst>
          </p:nvPr>
        </p:nvGraphicFramePr>
        <p:xfrm>
          <a:off x="533400" y="1500809"/>
          <a:ext cx="8267700" cy="457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7F5F705-F5A9-164E-97D6-785C209DE5CA}"/>
              </a:ext>
            </a:extLst>
          </p:cNvPr>
          <p:cNvSpPr txBox="1"/>
          <p:nvPr/>
        </p:nvSpPr>
        <p:spPr>
          <a:xfrm>
            <a:off x="2743200" y="6257836"/>
            <a:ext cx="64008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>
                <a:latin typeface="Cambria" panose="02040503050406030204" pitchFamily="18" charset="0"/>
              </a:rPr>
              <a:t>Bystander CPR rate excludes 911 Responder Witnessed, Nursing Home, and Healthcare Facility arres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>
                <a:latin typeface="Cambria" panose="02040503050406030204" pitchFamily="18" charset="0"/>
              </a:rPr>
              <a:t>Public AED Use rate excludes 911 Responder Witnessed, Home/Residence, Nursing Home, and Healthcare Facility arrests.</a:t>
            </a:r>
          </a:p>
        </p:txBody>
      </p:sp>
    </p:spTree>
    <p:extLst>
      <p:ext uri="{BB962C8B-B14F-4D97-AF65-F5344CB8AC3E}">
        <p14:creationId xmlns:p14="http://schemas.microsoft.com/office/powerpoint/2010/main" val="3276704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Arrest Rhythm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4236215"/>
              </p:ext>
            </p:extLst>
          </p:nvPr>
        </p:nvGraphicFramePr>
        <p:xfrm>
          <a:off x="419100" y="1417638"/>
          <a:ext cx="82677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534845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stained ROSC in the field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069861640"/>
              </p:ext>
            </p:extLst>
          </p:nvPr>
        </p:nvGraphicFramePr>
        <p:xfrm>
          <a:off x="152400" y="1371600"/>
          <a:ext cx="4966252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3B0789E3-637F-A244-B2FD-3DD00938CB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8551623"/>
              </p:ext>
            </p:extLst>
          </p:nvPr>
        </p:nvGraphicFramePr>
        <p:xfrm>
          <a:off x="5098774" y="1371599"/>
          <a:ext cx="4966252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833437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ival Rates: Overall Survival</a:t>
            </a:r>
          </a:p>
        </p:txBody>
      </p:sp>
      <p:graphicFrame>
        <p:nvGraphicFramePr>
          <p:cNvPr id="4" name="Content Placeholder 1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454037172"/>
              </p:ext>
            </p:extLst>
          </p:nvPr>
        </p:nvGraphicFramePr>
        <p:xfrm>
          <a:off x="188843" y="1550504"/>
          <a:ext cx="8816011" cy="4552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73103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3</TotalTime>
  <Words>143</Words>
  <Application>Microsoft Macintosh PowerPoint</Application>
  <PresentationFormat>On-screen Show (4:3)</PresentationFormat>
  <Paragraphs>34</Paragraphs>
  <Slides>1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Cambria</vt:lpstr>
      <vt:lpstr>Office Theme</vt:lpstr>
      <vt:lpstr>CARES 2019 National Report Summary: Michigan</vt:lpstr>
      <vt:lpstr>Location of Arrest</vt:lpstr>
      <vt:lpstr>Arrest Witnessed Status</vt:lpstr>
      <vt:lpstr>Who Initiated CPR</vt:lpstr>
      <vt:lpstr>Was an AED Applied  (prior to EMS arrival)?</vt:lpstr>
      <vt:lpstr>Bystander Intervention Rates</vt:lpstr>
      <vt:lpstr>First Arrest Rhythm</vt:lpstr>
      <vt:lpstr>Sustained ROSC in the field</vt:lpstr>
      <vt:lpstr>Survival Rates: Overall Survival</vt:lpstr>
      <vt:lpstr>Survival Rates: Bystander Witnessed Shockable Rhythm</vt:lpstr>
    </vt:vector>
  </TitlesOfParts>
  <Company>Emory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ison Crouch</dc:creator>
  <cp:lastModifiedBy>Sinkfield, Tiara C.</cp:lastModifiedBy>
  <cp:revision>38</cp:revision>
  <dcterms:created xsi:type="dcterms:W3CDTF">2018-11-12T17:36:49Z</dcterms:created>
  <dcterms:modified xsi:type="dcterms:W3CDTF">2020-04-16T14:53:01Z</dcterms:modified>
</cp:coreProperties>
</file>